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9" r:id="rId5"/>
  </p:sldMasterIdLst>
  <p:notesMasterIdLst>
    <p:notesMasterId r:id="rId8"/>
  </p:notesMasterIdLst>
  <p:sldIdLst>
    <p:sldId id="2134805478" r:id="rId6"/>
    <p:sldId id="2145707184" r:id="rId7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DF9F2D-7741-4D24-A4DF-A6F08CAB6974}" v="2" dt="2024-04-25T10:40:32.45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67676" autoAdjust="0"/>
  </p:normalViewPr>
  <p:slideViewPr>
    <p:cSldViewPr snapToGrid="0">
      <p:cViewPr varScale="1">
        <p:scale>
          <a:sx n="123" d="100"/>
          <a:sy n="123" d="100"/>
        </p:scale>
        <p:origin x="114" y="1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ian Bąkowski" userId="148b5550-951f-4469-a424-8c0f930d3d0a" providerId="ADAL" clId="{91DF9F2D-7741-4D24-A4DF-A6F08CAB6974}"/>
    <pc:docChg chg="undo custSel modSld">
      <pc:chgData name="Damian Bąkowski" userId="148b5550-951f-4469-a424-8c0f930d3d0a" providerId="ADAL" clId="{91DF9F2D-7741-4D24-A4DF-A6F08CAB6974}" dt="2024-04-25T10:49:32.203" v="332" actId="20577"/>
      <pc:docMkLst>
        <pc:docMk/>
      </pc:docMkLst>
      <pc:sldChg chg="addSp delSp modSp mod delAnim">
        <pc:chgData name="Damian Bąkowski" userId="148b5550-951f-4469-a424-8c0f930d3d0a" providerId="ADAL" clId="{91DF9F2D-7741-4D24-A4DF-A6F08CAB6974}" dt="2024-04-25T10:40:18.758" v="69"/>
        <pc:sldMkLst>
          <pc:docMk/>
          <pc:sldMk cId="1123231115" sldId="2134805478"/>
        </pc:sldMkLst>
        <pc:spChg chg="add del">
          <ac:chgData name="Damian Bąkowski" userId="148b5550-951f-4469-a424-8c0f930d3d0a" providerId="ADAL" clId="{91DF9F2D-7741-4D24-A4DF-A6F08CAB6974}" dt="2024-04-25T10:40:14.942" v="68" actId="22"/>
          <ac:spMkLst>
            <pc:docMk/>
            <pc:sldMk cId="1123231115" sldId="2134805478"/>
            <ac:spMk id="3" creationId="{ABCB2177-2511-CDC0-4339-043B05B9DF1F}"/>
          </ac:spMkLst>
        </pc:spChg>
        <pc:spChg chg="mod">
          <ac:chgData name="Damian Bąkowski" userId="148b5550-951f-4469-a424-8c0f930d3d0a" providerId="ADAL" clId="{91DF9F2D-7741-4D24-A4DF-A6F08CAB6974}" dt="2024-04-25T10:39:47.239" v="53" actId="20577"/>
          <ac:spMkLst>
            <pc:docMk/>
            <pc:sldMk cId="1123231115" sldId="2134805478"/>
            <ac:spMk id="5" creationId="{FDAAE502-6082-D14C-9D31-2E3F4BA95BE7}"/>
          </ac:spMkLst>
        </pc:spChg>
        <pc:spChg chg="mod">
          <ac:chgData name="Damian Bąkowski" userId="148b5550-951f-4469-a424-8c0f930d3d0a" providerId="ADAL" clId="{91DF9F2D-7741-4D24-A4DF-A6F08CAB6974}" dt="2024-04-25T10:39:54.670" v="65" actId="20577"/>
          <ac:spMkLst>
            <pc:docMk/>
            <pc:sldMk cId="1123231115" sldId="2134805478"/>
            <ac:spMk id="8" creationId="{9D4C8798-A194-EC28-2BEF-DF04FE07C2E4}"/>
          </ac:spMkLst>
        </pc:spChg>
        <pc:picChg chg="add mod">
          <ac:chgData name="Damian Bąkowski" userId="148b5550-951f-4469-a424-8c0f930d3d0a" providerId="ADAL" clId="{91DF9F2D-7741-4D24-A4DF-A6F08CAB6974}" dt="2024-04-25T10:40:18.758" v="69"/>
          <ac:picMkLst>
            <pc:docMk/>
            <pc:sldMk cId="1123231115" sldId="2134805478"/>
            <ac:picMk id="6" creationId="{A99F312E-DA32-DF4C-E9BA-BAB0A384F987}"/>
          </ac:picMkLst>
        </pc:picChg>
        <pc:picChg chg="del">
          <ac:chgData name="Damian Bąkowski" userId="148b5550-951f-4469-a424-8c0f930d3d0a" providerId="ADAL" clId="{91DF9F2D-7741-4D24-A4DF-A6F08CAB6974}" dt="2024-04-25T10:40:09.615" v="66" actId="478"/>
          <ac:picMkLst>
            <pc:docMk/>
            <pc:sldMk cId="1123231115" sldId="2134805478"/>
            <ac:picMk id="15" creationId="{81CD9C4D-3127-4D55-1105-5E1E62F8187E}"/>
          </ac:picMkLst>
        </pc:picChg>
      </pc:sldChg>
      <pc:sldChg chg="addSp delSp modSp mod">
        <pc:chgData name="Damian Bąkowski" userId="148b5550-951f-4469-a424-8c0f930d3d0a" providerId="ADAL" clId="{91DF9F2D-7741-4D24-A4DF-A6F08CAB6974}" dt="2024-04-25T10:49:32.203" v="332" actId="20577"/>
        <pc:sldMkLst>
          <pc:docMk/>
          <pc:sldMk cId="3449206269" sldId="2145707184"/>
        </pc:sldMkLst>
        <pc:spChg chg="mod">
          <ac:chgData name="Damian Bąkowski" userId="148b5550-951f-4469-a424-8c0f930d3d0a" providerId="ADAL" clId="{91DF9F2D-7741-4D24-A4DF-A6F08CAB6974}" dt="2024-04-25T10:39:20.126" v="20" actId="20577"/>
          <ac:spMkLst>
            <pc:docMk/>
            <pc:sldMk cId="3449206269" sldId="2145707184"/>
            <ac:spMk id="5" creationId="{8F375C25-1736-50F9-E6AE-8DE8407244FB}"/>
          </ac:spMkLst>
        </pc:spChg>
        <pc:spChg chg="mod">
          <ac:chgData name="Damian Bąkowski" userId="148b5550-951f-4469-a424-8c0f930d3d0a" providerId="ADAL" clId="{91DF9F2D-7741-4D24-A4DF-A6F08CAB6974}" dt="2024-04-25T10:49:32.203" v="332" actId="20577"/>
          <ac:spMkLst>
            <pc:docMk/>
            <pc:sldMk cId="3449206269" sldId="2145707184"/>
            <ac:spMk id="19" creationId="{AA7A91DF-7A9D-6F92-E4DC-94C582E97BA2}"/>
          </ac:spMkLst>
        </pc:spChg>
        <pc:picChg chg="add mod">
          <ac:chgData name="Damian Bąkowski" userId="148b5550-951f-4469-a424-8c0f930d3d0a" providerId="ADAL" clId="{91DF9F2D-7741-4D24-A4DF-A6F08CAB6974}" dt="2024-04-25T10:40:32.454" v="71"/>
          <ac:picMkLst>
            <pc:docMk/>
            <pc:sldMk cId="3449206269" sldId="2145707184"/>
            <ac:picMk id="2" creationId="{39401598-C2C7-4A69-5156-584743D13CA5}"/>
          </ac:picMkLst>
        </pc:picChg>
        <pc:picChg chg="del">
          <ac:chgData name="Damian Bąkowski" userId="148b5550-951f-4469-a424-8c0f930d3d0a" providerId="ADAL" clId="{91DF9F2D-7741-4D24-A4DF-A6F08CAB6974}" dt="2024-04-25T10:40:31.952" v="70" actId="478"/>
          <ac:picMkLst>
            <pc:docMk/>
            <pc:sldMk cId="3449206269" sldId="2145707184"/>
            <ac:picMk id="20" creationId="{394FA58D-B73C-DFA7-E74A-974C6F69BDB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4E1124-64C4-43BB-93EE-0EA2A8F7C6A2}" type="datetimeFigureOut">
              <a:rPr lang="pl-PL" smtClean="0"/>
              <a:t>25.04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A7A84F-AA2D-49A0-A10B-1B4D8D89A1A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46305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3755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4A6EBD-C22D-5B0B-9CFF-E8BD86F042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>
            <a:extLst>
              <a:ext uri="{FF2B5EF4-FFF2-40B4-BE49-F238E27FC236}">
                <a16:creationId xmlns:a16="http://schemas.microsoft.com/office/drawing/2014/main" id="{59BF519E-DC65-64C8-EBE0-422177C737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>
            <a:extLst>
              <a:ext uri="{FF2B5EF4-FFF2-40B4-BE49-F238E27FC236}">
                <a16:creationId xmlns:a16="http://schemas.microsoft.com/office/drawing/2014/main" id="{5630A354-5B94-F614-A293-23E79A997E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E168D114-7E85-AC26-7B3D-E9AE5F49B27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0F5B51-7F4D-1A4A-9B73-B22C75CA48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46511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w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w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0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1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4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9" y="384840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7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7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054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983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380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048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9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21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2" y="353500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4" y="6411537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86469" y="4576236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14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5170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995467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4084832"/>
            <a:ext cx="1069259" cy="1878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091CE24-8CBC-2247-A805-6306576F917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2183" y="6418263"/>
            <a:ext cx="4927639" cy="17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640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099265" y="6360656"/>
            <a:ext cx="5993479" cy="288000"/>
          </a:xfrm>
          <a:prstGeom prst="rect">
            <a:avLst/>
          </a:prstGeom>
        </p:spPr>
        <p:txBody>
          <a:bodyPr/>
          <a:lstStyle/>
          <a:p>
            <a:pPr algn="ctr" defTabSz="1038899"/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447800" y="6360656"/>
            <a:ext cx="574717" cy="288000"/>
          </a:xfrm>
          <a:prstGeom prst="rect">
            <a:avLst/>
          </a:prstGeom>
        </p:spPr>
        <p:txBody>
          <a:bodyPr/>
          <a:lstStyle/>
          <a:p>
            <a:fld id="{3E35ABA6-C3F5-4D43-9942-44A51C691B7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50998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E1C3B5-8CE2-F35A-B275-71FCEE04B2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9697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E1C3B5-8CE2-F35A-B275-71FCEE04B2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3">
            <a:extLst>
              <a:ext uri="{FF2B5EF4-FFF2-40B4-BE49-F238E27FC236}">
                <a16:creationId xmlns:a16="http://schemas.microsoft.com/office/drawing/2014/main" id="{61FC2BC5-8D51-7D49-B915-E95739D057BF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240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57F41F40-3550-1243-AE88-817EFD71E0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1359969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3200" b="1" i="0">
                <a:solidFill>
                  <a:srgbClr val="AA8F7F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5A90CA2-07D7-8647-A89F-93C81C0A5C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0949" y="1623327"/>
            <a:ext cx="4311249" cy="3704047"/>
          </a:xfrm>
          <a:prstGeom prst="rect">
            <a:avLst/>
          </a:prstGeom>
        </p:spPr>
        <p:txBody>
          <a:bodyPr/>
          <a:lstStyle>
            <a:lvl1pPr marL="0" indent="0" algn="l" rtl="0">
              <a:buNone/>
              <a:defRPr sz="1600" b="0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2735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B_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1C5D22D-0FFB-4A9F-C444-7AB1D7CCBB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265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1C5D22D-0FFB-4A9F-C444-7AB1D7CCBB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en-US" smtClean="0"/>
              <a:pPr/>
              <a:t>4/25/2024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BB2A3744-44E6-A14D-8340-63CEA70F84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13" name="Tytuł 2">
            <a:extLst>
              <a:ext uri="{FF2B5EF4-FFF2-40B4-BE49-F238E27FC236}">
                <a16:creationId xmlns:a16="http://schemas.microsoft.com/office/drawing/2014/main" id="{3D6A2861-D9B4-C347-9FA4-97F2DF50A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rtl="0">
              <a:defRPr sz="4800" b="1" i="0">
                <a:solidFill>
                  <a:srgbClr val="174E42"/>
                </a:solidFill>
                <a:latin typeface="Arial" panose="020B0604020202020204" pitchFamily="34" charset="0"/>
                <a:ea typeface="Post Grotesk" panose="02000000000000000000" pitchFamily="2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10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663547" y="384838"/>
            <a:ext cx="8147825" cy="63936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667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738156" y="6298955"/>
            <a:ext cx="10073216" cy="39173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48488BC-F43D-4A4C-803E-D4B8C98A62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266" y="1919368"/>
            <a:ext cx="11123471" cy="405197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5CDE5F3-DA89-5449-A013-DB78FFDA10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8E9BC9-6B45-C249-9C40-EBAE5DF5FF9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0878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2" y="2293583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432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Flokk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j-lt"/>
                <a:ea typeface="Arial Regular"/>
                <a:cs typeface="Arial Regular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EBFC33-3A68-D44C-8E2E-BF862C0FA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293582"/>
            <a:ext cx="2408081" cy="65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61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812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49" y="1833871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6334611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8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5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22777931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0806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6979"/>
            <a:ext cx="11137899" cy="4632805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992335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3" y="1115603"/>
            <a:ext cx="5504021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96496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0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0" y="1124330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342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392271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1" y="1115603"/>
            <a:ext cx="11137899" cy="5194181"/>
          </a:xfrm>
          <a:prstGeom prst="rect">
            <a:avLst/>
          </a:prstGeom>
        </p:spPr>
        <p:txBody>
          <a:bodyPr/>
          <a:lstStyle>
            <a:lvl1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1" indent="-268281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5779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_slide">
    <p:bg>
      <p:bgPr>
        <a:solidFill>
          <a:srgbClr val="8CA6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07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50">
          <p15:clr>
            <a:srgbClr val="FBAE40"/>
          </p15:clr>
        </p15:guide>
        <p15:guide id="2" pos="181">
          <p15:clr>
            <a:srgbClr val="FBAE40"/>
          </p15:clr>
        </p15:guide>
        <p15:guide id="3" pos="5579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rgbClr val="174E42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1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okk_logo_animation_trimmed.mp4">
            <a:hlinkClick r:id="" action="ppaction://media"/>
            <a:extLst>
              <a:ext uri="{FF2B5EF4-FFF2-40B4-BE49-F238E27FC236}">
                <a16:creationId xmlns:a16="http://schemas.microsoft.com/office/drawing/2014/main" id="{85A7770F-407F-D64C-A3A4-1371166C725B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266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66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reak_slide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330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reak_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634118" y="3165116"/>
            <a:ext cx="8923767" cy="5277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ctr">
              <a:defRPr sz="32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Headlin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3651"/>
            <a:ext cx="973740" cy="2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65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481" y="353498"/>
            <a:ext cx="1667140" cy="4504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363" y="6411536"/>
            <a:ext cx="1059269" cy="186115"/>
          </a:xfrm>
          <a:prstGeom prst="rect">
            <a:avLst/>
          </a:prstGeom>
        </p:spPr>
      </p:pic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97284" y="4639298"/>
            <a:ext cx="10073216" cy="165644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8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Flokk</a:t>
            </a:r>
            <a:br>
              <a:rPr lang="en-US"/>
            </a:br>
            <a:r>
              <a:rPr lang="en-US" err="1"/>
              <a:t>Fridtjof</a:t>
            </a:r>
            <a:r>
              <a:rPr lang="en-US"/>
              <a:t> </a:t>
            </a:r>
            <a:r>
              <a:rPr lang="en-US" err="1"/>
              <a:t>Nansens</a:t>
            </a:r>
            <a:r>
              <a:rPr lang="en-US"/>
              <a:t> </a:t>
            </a:r>
            <a:r>
              <a:rPr lang="en-US" err="1"/>
              <a:t>vei</a:t>
            </a:r>
            <a:r>
              <a:rPr lang="en-US"/>
              <a:t> 12</a:t>
            </a:r>
            <a:br>
              <a:rPr lang="en-US"/>
            </a:br>
            <a:r>
              <a:rPr lang="en-US"/>
              <a:t>0301 Oslo – Norway</a:t>
            </a:r>
            <a:br>
              <a:rPr lang="en-US"/>
            </a:br>
            <a:r>
              <a:rPr lang="en-US"/>
              <a:t>Tel: +47 22 59 59 00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F376364C-E58F-4446-BBA1-A83B92E1F86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81185" y="6437994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050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_slide">
    <p:bg>
      <p:bgPr>
        <a:solidFill>
          <a:srgbClr val="174E4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961" y="2995466"/>
            <a:ext cx="2408081" cy="6506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1" y="4084832"/>
            <a:ext cx="1069259" cy="187869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0CCA5B3-96DE-7842-BD2F-DA463AD618F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222168" y="6173410"/>
            <a:ext cx="5747664" cy="15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2300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40920"/>
              </p:ext>
            </p:extLst>
          </p:nvPr>
        </p:nvGraphicFramePr>
        <p:xfrm>
          <a:off x="1958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64" progId="TCLayout.ActiveDocument.1">
                  <p:embed/>
                </p:oleObj>
              </mc:Choice>
              <mc:Fallback>
                <p:oleObj name="think-cell Slide" r:id="rId3" imgW="663" imgH="66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8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60400" y="1143003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72756" y="0"/>
            <a:ext cx="908049" cy="248101"/>
          </a:xfrm>
          <a:prstGeom prst="rect">
            <a:avLst/>
          </a:prstGeom>
        </p:spPr>
        <p:txBody>
          <a:bodyPr/>
          <a:lstStyle/>
          <a:p>
            <a:pPr defTabSz="1038925"/>
            <a:fld id="{876E4242-7A02-D347-868C-7102E2A10D49}" type="datetime1">
              <a:rPr lang="en-US" smtClean="0">
                <a:solidFill>
                  <a:srgbClr val="222222"/>
                </a:solidFill>
              </a:rPr>
              <a:pPr defTabSz="1038925"/>
              <a:t>4/25/2024</a:t>
            </a:fld>
            <a:endParaRPr lang="en-US">
              <a:solidFill>
                <a:srgbClr val="222222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60400" y="445931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5526291" y="6356354"/>
            <a:ext cx="1139428" cy="366183"/>
          </a:xfrm>
        </p:spPr>
        <p:txBody>
          <a:bodyPr/>
          <a:lstStyle/>
          <a:p>
            <a:pPr defTabSz="1038925"/>
            <a:fld id="{4C8A2398-00AD-E248-B160-42043925DF03}" type="slidenum">
              <a:rPr lang="sv-SE" smtClean="0"/>
              <a:pPr defTabSz="1038925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8381179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9970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0" y="0"/>
            <a:ext cx="12192000" cy="6028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85862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8CA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1835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345A0925-D82C-5F44-A75F-A083877E5A70}"/>
              </a:ext>
            </a:extLst>
          </p:cNvPr>
          <p:cNvSpPr/>
          <p:nvPr userDrawn="1"/>
        </p:nvSpPr>
        <p:spPr>
          <a:xfrm>
            <a:off x="23080" y="0"/>
            <a:ext cx="12192000" cy="6028267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14" name="Tytuł 2">
            <a:extLst>
              <a:ext uri="{FF2B5EF4-FFF2-40B4-BE49-F238E27FC236}">
                <a16:creationId xmlns:a16="http://schemas.microsoft.com/office/drawing/2014/main" id="{FA97CDE7-1034-A64D-B3CD-B0D618879C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304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3519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Flokk">
    <p:bg>
      <p:bgPr>
        <a:solidFill>
          <a:srgbClr val="CBB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0550" y="1833872"/>
            <a:ext cx="2523663" cy="6818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1372" y="6334612"/>
            <a:ext cx="1069259" cy="356419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1059392" y="3570819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059392" y="4369106"/>
            <a:ext cx="10073216" cy="78346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133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 headline/author/date</a:t>
            </a:r>
          </a:p>
        </p:txBody>
      </p:sp>
    </p:spTree>
    <p:extLst>
      <p:ext uri="{BB962C8B-B14F-4D97-AF65-F5344CB8AC3E}">
        <p14:creationId xmlns:p14="http://schemas.microsoft.com/office/powerpoint/2010/main" val="3640499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174E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0113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3973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rgbClr val="174E42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5491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ostokąt 7">
            <a:extLst>
              <a:ext uri="{FF2B5EF4-FFF2-40B4-BE49-F238E27FC236}">
                <a16:creationId xmlns:a16="http://schemas.microsoft.com/office/drawing/2014/main" id="{22560BA9-7805-7045-BC29-9DA6A8ACE2FB}"/>
              </a:ext>
            </a:extLst>
          </p:cNvPr>
          <p:cNvSpPr/>
          <p:nvPr userDrawn="1"/>
        </p:nvSpPr>
        <p:spPr>
          <a:xfrm>
            <a:off x="5174827" y="0"/>
            <a:ext cx="7017173" cy="6858000"/>
          </a:xfrm>
          <a:prstGeom prst="rect">
            <a:avLst/>
          </a:prstGeom>
          <a:solidFill>
            <a:srgbClr val="CBB6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40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9" name="Tytuł 2">
            <a:extLst>
              <a:ext uri="{FF2B5EF4-FFF2-40B4-BE49-F238E27FC236}">
                <a16:creationId xmlns:a16="http://schemas.microsoft.com/office/drawing/2014/main" id="{92C5B48E-B8ED-584A-A6C8-8759AA7F0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8154" y="315105"/>
            <a:ext cx="5476353" cy="5055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TXT here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482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_Blu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B4AC00A-C7FB-C844-A824-E66C8455979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01980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9D928B"/>
              </a:buClr>
              <a:buFont typeface="Wingdings" charset="2"/>
              <a:buNone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Please insert a picture her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C375B0-5B3A-46B6-A1AF-2F19CC8D391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205322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064CAC-9979-4568-8672-F17C38917738}" type="datetime1">
              <a:rPr lang="nb-NO" smtClean="0"/>
              <a:pPr/>
              <a:t>25.04.2024</a:t>
            </a:fld>
            <a:endParaRPr lang="nb-NO" noProof="0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176AC0F-CB9A-4561-888B-EA3FD9EC397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5746065" y="9167020"/>
            <a:ext cx="5854483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ct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noProof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316223-FB68-4870-8B28-4DD135333E2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12238305" y="9167020"/>
            <a:ext cx="3902988" cy="33855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r" defTabSz="457189" rtl="0" eaLnBrk="1" latinLnBrk="0" hangingPunct="1">
              <a:lnSpc>
                <a:spcPct val="100000"/>
              </a:lnSpc>
              <a:spcBef>
                <a:spcPts val="0"/>
              </a:spcBef>
              <a:defRPr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D82140B-1ED1-4069-9711-C445C397B596}" type="slidenum">
              <a:rPr lang="nb-NO" smtClean="0"/>
              <a:pPr/>
              <a:t>‹#›</a:t>
            </a:fld>
            <a:endParaRPr lang="nb-NO" noProof="0"/>
          </a:p>
        </p:txBody>
      </p:sp>
      <p:sp>
        <p:nvSpPr>
          <p:cNvPr id="8" name="Tytuł 2">
            <a:extLst>
              <a:ext uri="{FF2B5EF4-FFF2-40B4-BE49-F238E27FC236}">
                <a16:creationId xmlns:a16="http://schemas.microsoft.com/office/drawing/2014/main" id="{919B8AAE-4C3A-D14C-82A3-C0992EDD6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315106"/>
            <a:ext cx="5476353" cy="505554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6400" b="1" i="0">
                <a:solidFill>
                  <a:schemeClr val="tx1"/>
                </a:solidFill>
                <a:latin typeface="Post Grotesk" panose="02000000000000000000" pitchFamily="2" charset="0"/>
                <a:ea typeface="Post Grotesk" panose="02000000000000000000" pitchFamily="2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From capital goods to consumer goods </a:t>
            </a:r>
            <a:endParaRPr lang="pl-P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8406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rake_slide">
    <p:bg>
      <p:bgPr>
        <a:solidFill>
          <a:srgbClr val="E1DD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A2A4CF4D-CA1F-7638-2C60-8B2355EC8E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6D697C5-548A-C779-6F75-2489F7B020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0400" y="1123954"/>
            <a:ext cx="10869085" cy="4933951"/>
          </a:xfrm>
          <a:prstGeom prst="rect">
            <a:avLst/>
          </a:prstGeom>
        </p:spPr>
        <p:txBody>
          <a:bodyPr/>
          <a:lstStyle>
            <a:lvl1pPr marL="182550" indent="-182550">
              <a:buClr>
                <a:srgbClr val="9D928B"/>
              </a:buClr>
              <a:buFont typeface="Wingdings" charset="2"/>
              <a:buChar char="§"/>
              <a:defRPr sz="1800" baseline="0">
                <a:solidFill>
                  <a:srgbClr val="564C45"/>
                </a:solidFill>
                <a:latin typeface="Franklin Gothic Book"/>
              </a:defRPr>
            </a:lvl1pPr>
            <a:lvl2pPr marL="358750" indent="266680">
              <a:buClr>
                <a:srgbClr val="9D928B"/>
              </a:buClr>
              <a:buFont typeface="Wingdings" charset="2"/>
              <a:buChar char="§"/>
              <a:defRPr sz="1600" baseline="0">
                <a:solidFill>
                  <a:srgbClr val="564C45"/>
                </a:solidFill>
                <a:latin typeface="Franklin Gothic Book"/>
              </a:defRPr>
            </a:lvl2pPr>
            <a:lvl3pPr marL="1142914" indent="-228584">
              <a:buClr>
                <a:srgbClr val="9D928B"/>
              </a:buClr>
              <a:buFont typeface="Wingdings" charset="2"/>
              <a:buChar char="§"/>
              <a:defRPr sz="1400">
                <a:solidFill>
                  <a:srgbClr val="564C45"/>
                </a:solidFill>
                <a:latin typeface="Franklin Gothic Book"/>
              </a:defRPr>
            </a:lvl3pPr>
            <a:lvl4pPr>
              <a:defRPr sz="1000" baseline="0"/>
            </a:lvl4pPr>
            <a:lvl5pPr marL="2057247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/>
            </a:lvl5pPr>
            <a:lvl6pPr marL="2514412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6pPr>
            <a:lvl7pPr marL="2971578" marR="0" indent="-228584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Char char="•"/>
              <a:tabLst/>
              <a:defRPr sz="1000">
                <a:solidFill>
                  <a:srgbClr val="333333"/>
                </a:solidFill>
              </a:defRPr>
            </a:lvl7pPr>
            <a:lvl8pPr marL="3200160" marR="0" indent="0" algn="l" defTabSz="9143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itchFamily="34" charset="0"/>
              <a:buNone/>
              <a:tabLst/>
              <a:defRPr sz="1000">
                <a:solidFill>
                  <a:srgbClr val="333333"/>
                </a:solidFill>
              </a:defRPr>
            </a:lvl8pPr>
          </a:lstStyle>
          <a:p>
            <a:pPr lvl="0"/>
            <a:r>
              <a:rPr lang="en-US" noProof="0"/>
              <a:t>Bullet large</a:t>
            </a:r>
          </a:p>
          <a:p>
            <a:pPr lvl="1"/>
            <a:r>
              <a:rPr lang="en-US" noProof="0"/>
              <a:t>Small bullet</a:t>
            </a:r>
          </a:p>
          <a:p>
            <a:pPr lvl="2"/>
            <a:r>
              <a:rPr lang="en-US" noProof="0"/>
              <a:t>Indent small bulle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BB779B-E244-C703-1380-0A5F131EF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426882"/>
            <a:ext cx="10869085" cy="629407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200">
                <a:solidFill>
                  <a:srgbClr val="5B5451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04819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A51B75A-E1DB-F349-B5FC-0B4B0A0A9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937843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361627D-10E1-1D42-97B7-4969036D3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19A16AC8-2914-9346-9DFB-C035E5A80B6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676980"/>
            <a:ext cx="11137899" cy="4632805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BFCC3A3A-7030-1F47-8D71-21B962C01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1679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ontent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60C047-5A23-4F4C-9466-A1B9EAFF1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A0578615-C079-DE4E-B7E1-A15D82D3EC0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2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ACD4A974-BD40-9646-8451-77C6147E35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61344" y="1115604"/>
            <a:ext cx="5504021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2672CF83-D271-8E45-89EA-356AA2146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8163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7">
            <a:extLst>
              <a:ext uri="{FF2B5EF4-FFF2-40B4-BE49-F238E27FC236}">
                <a16:creationId xmlns:a16="http://schemas.microsoft.com/office/drawing/2014/main" id="{FB2CD716-B83E-CF40-A54C-66892A74C20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27051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84BD08E-CE59-5A46-8688-7421DF34ED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7051" y="1124332"/>
            <a:ext cx="11137900" cy="477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9C57221-106C-2049-86DA-EE34F3CD0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D45DF562-6B8B-6D44-AEA2-3A7242CA03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61342" y="1674664"/>
            <a:ext cx="5504023" cy="4635120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387F7DF-2FAC-854F-A033-9181D0A47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05519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92272"/>
            <a:ext cx="11137900" cy="65663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rgbClr val="AA8F7F"/>
                </a:solidFill>
                <a:latin typeface="Arial Regular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27052" y="1115604"/>
            <a:ext cx="11137899" cy="5194181"/>
          </a:xfrm>
          <a:prstGeom prst="rect">
            <a:avLst/>
          </a:prstGeom>
        </p:spPr>
        <p:txBody>
          <a:bodyPr/>
          <a:lstStyle>
            <a:lvl1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75" indent="-268275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buClr>
                <a:srgbClr val="8CA6A0"/>
              </a:buClr>
              <a:buFont typeface="Arial" pitchFamily="34" charset="0"/>
              <a:buChar char="•"/>
              <a:defRPr lang="en-US" sz="2133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object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58D54269-6CAD-A948-9FD7-DD3135426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0078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image" Target="../media/image2.emf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image" Target="../media/image12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45468404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8" imgH="347" progId="TCLayout.ActiveDocument.1">
                  <p:embed/>
                </p:oleObj>
              </mc:Choice>
              <mc:Fallback>
                <p:oleObj name="think-cell Slide" r:id="rId21" imgW="348" imgH="34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61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426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ftr="0" dt="0"/>
  <p:txStyles>
    <p:titleStyle>
      <a:lvl1pPr algn="l" defTabSz="914354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75" indent="-268275" algn="l" defTabSz="914354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47811989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22" imgH="623" progId="TCLayout.ActiveDocument.1">
                  <p:embed/>
                </p:oleObj>
              </mc:Choice>
              <mc:Fallback>
                <p:oleObj name="think-cell Slide" r:id="rId30" imgW="622" imgH="6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1" y="6334303"/>
            <a:ext cx="973504" cy="26334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8DCAE6-A66C-3A45-8A87-FA2123C5C8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26287" y="6414559"/>
            <a:ext cx="1139428" cy="366183"/>
          </a:xfrm>
          <a:prstGeom prst="rect">
            <a:avLst/>
          </a:prstGeom>
        </p:spPr>
        <p:txBody>
          <a:bodyPr/>
          <a:lstStyle>
            <a:lvl1pPr algn="ctr">
              <a:defRPr sz="1067">
                <a:solidFill>
                  <a:srgbClr val="174E42"/>
                </a:solidFill>
              </a:defRPr>
            </a:lvl1pPr>
          </a:lstStyle>
          <a:p>
            <a:fld id="{536268F8-C866-4FF2-9FAB-C5D04470C3E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957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  <p:sldLayoutId id="2147483699" r:id="rId20"/>
    <p:sldLayoutId id="2147483700" r:id="rId21"/>
    <p:sldLayoutId id="2147483701" r:id="rId22"/>
    <p:sldLayoutId id="2147483702" r:id="rId23"/>
    <p:sldLayoutId id="2147483703" r:id="rId24"/>
    <p:sldLayoutId id="2147483704" r:id="rId25"/>
    <p:sldLayoutId id="2147483705" r:id="rId26"/>
    <p:sldLayoutId id="2147483706" r:id="rId27"/>
  </p:sldLayoutIdLst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268281" indent="-268281" algn="l" defTabSz="914377" rtl="0" eaLnBrk="1" latinLnBrk="0" hangingPunct="1">
        <a:spcBef>
          <a:spcPts val="600"/>
        </a:spcBef>
        <a:buClr>
          <a:schemeClr val="accent2"/>
        </a:buClr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340">
          <p15:clr>
            <a:srgbClr val="F26B43"/>
          </p15:clr>
        </p15:guide>
        <p15:guide id="7" pos="5352">
          <p15:clr>
            <a:srgbClr val="F26B43"/>
          </p15:clr>
        </p15:guide>
        <p15:guide id="8" orient="horz" pos="373">
          <p15:clr>
            <a:srgbClr val="F26B43"/>
          </p15:clr>
        </p15:guide>
        <p15:guide id="9" orient="horz" pos="2981">
          <p15:clr>
            <a:srgbClr val="F26B43"/>
          </p15:clr>
        </p15:guide>
        <p15:guide id="10" orient="horz" pos="3173">
          <p15:clr>
            <a:srgbClr val="F26B43"/>
          </p15:clr>
        </p15:guide>
        <p15:guide id="11" orient="horz" pos="3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FDAAE502-6082-D14C-9D31-2E3F4BA95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How to dispose of product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Profim Revo</a:t>
            </a:r>
            <a:endParaRPr lang="pl-PL" sz="2800" dirty="0">
              <a:latin typeface="Arial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D3E6C6-C92A-9C49-83C9-47E6C5CCB950}"/>
              </a:ext>
            </a:extLst>
          </p:cNvPr>
          <p:cNvSpPr/>
          <p:nvPr/>
        </p:nvSpPr>
        <p:spPr>
          <a:xfrm>
            <a:off x="5172083" y="0"/>
            <a:ext cx="7019917" cy="60278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38977">
              <a:defRPr/>
            </a:pPr>
            <a:endParaRPr lang="pl-PL" sz="2045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9D4C8798-A194-EC28-2BEF-DF04FE07C2E4}"/>
              </a:ext>
            </a:extLst>
          </p:cNvPr>
          <p:cNvSpPr txBox="1"/>
          <p:nvPr/>
        </p:nvSpPr>
        <p:spPr>
          <a:xfrm>
            <a:off x="388153" y="1455814"/>
            <a:ext cx="4585903" cy="374980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i="1" dirty="0">
                <a:solidFill>
                  <a:schemeClr val="bg1"/>
                </a:solidFill>
              </a:rPr>
              <a:t>Please Note: This </a:t>
            </a:r>
            <a:r>
              <a:rPr lang="pl-PL" i="1" dirty="0">
                <a:solidFill>
                  <a:schemeClr val="bg1"/>
                </a:solidFill>
              </a:rPr>
              <a:t>product</a:t>
            </a:r>
            <a:r>
              <a:rPr lang="en-US" i="1" dirty="0">
                <a:solidFill>
                  <a:schemeClr val="bg1"/>
                </a:solidFill>
              </a:rPr>
              <a:t> is designed for easy disassembly</a:t>
            </a:r>
            <a:r>
              <a:rPr lang="pl-PL" i="1" dirty="0">
                <a:solidFill>
                  <a:schemeClr val="bg1"/>
                </a:solidFill>
              </a:rPr>
              <a:t>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 dirty="0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u="sng" dirty="0">
                <a:solidFill>
                  <a:schemeClr val="bg1"/>
                </a:solidFill>
              </a:rPr>
              <a:t>Assess the furniture condition</a:t>
            </a:r>
            <a:r>
              <a:rPr lang="pl-PL" b="1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sz="1600" i="1" dirty="0">
                <a:solidFill>
                  <a:schemeClr val="bg1"/>
                </a:solidFill>
              </a:rPr>
              <a:t>Flokk provides </a:t>
            </a:r>
            <a:r>
              <a:rPr lang="pl-PL" sz="1600" i="1" dirty="0" err="1">
                <a:solidFill>
                  <a:schemeClr val="bg1"/>
                </a:solidFill>
              </a:rPr>
              <a:t>spare</a:t>
            </a:r>
            <a:r>
              <a:rPr lang="en-US" sz="1600" i="1" dirty="0">
                <a:solidFill>
                  <a:schemeClr val="bg1"/>
                </a:solidFill>
              </a:rPr>
              <a:t> parts for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easy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replacement of worn-out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components</a:t>
            </a:r>
            <a:endParaRPr lang="pl-PL" sz="1600" b="1" dirty="0">
              <a:solidFill>
                <a:schemeClr val="bg1"/>
              </a:solidFill>
            </a:endParaRPr>
          </a:p>
          <a:p>
            <a:pPr marL="342900" indent="-342900" defTabSz="1038977">
              <a:buAutoNum type="arabicPeriod"/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2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 dirty="0">
                <a:solidFill>
                  <a:schemeClr val="bg1"/>
                </a:solidFill>
              </a:rPr>
              <a:t>Consider donating or selling if in good condition.</a:t>
            </a:r>
            <a:endParaRPr lang="pl-PL" b="1" u="sng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b="1" dirty="0">
                <a:solidFill>
                  <a:schemeClr val="bg1"/>
                </a:solidFill>
              </a:rPr>
              <a:t>     </a:t>
            </a:r>
            <a:endParaRPr lang="pl-PL" sz="1400" i="1" dirty="0">
              <a:solidFill>
                <a:schemeClr val="bg1"/>
              </a:solidFill>
            </a:endParaRP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A99F312E-DA32-DF4C-E9BA-BAB0A384F9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42" b="7489"/>
          <a:stretch/>
        </p:blipFill>
        <p:spPr bwMode="auto">
          <a:xfrm>
            <a:off x="5172082" y="0"/>
            <a:ext cx="7019917" cy="602787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32311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B61FD-48F3-90EC-1681-C9C4A716BA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3">
            <a:extLst>
              <a:ext uri="{FF2B5EF4-FFF2-40B4-BE49-F238E27FC236}">
                <a16:creationId xmlns:a16="http://schemas.microsoft.com/office/drawing/2014/main" id="{8F375C25-1736-50F9-E6AE-8DE840724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154" y="115655"/>
            <a:ext cx="6167025" cy="1678876"/>
          </a:xfrm>
        </p:spPr>
        <p:txBody>
          <a:bodyPr lIns="121920" tIns="60960" rIns="121920" bIns="60960" anchor="t"/>
          <a:lstStyle/>
          <a:p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How to dispose of product </a:t>
            </a:r>
            <a:b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</a:br>
            <a:r>
              <a:rPr lang="pl-PL" sz="2800" dirty="0">
                <a:solidFill>
                  <a:srgbClr val="FFFFFF"/>
                </a:solidFill>
                <a:latin typeface="+mj-lt"/>
                <a:cs typeface="Arial"/>
              </a:rPr>
              <a:t>- Profim Revo</a:t>
            </a:r>
            <a:endParaRPr lang="pl-PL" sz="2800" dirty="0">
              <a:latin typeface="Arial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AA7A91DF-7A9D-6F92-E4DC-94C582E97BA2}"/>
              </a:ext>
            </a:extLst>
          </p:cNvPr>
          <p:cNvSpPr txBox="1"/>
          <p:nvPr/>
        </p:nvSpPr>
        <p:spPr>
          <a:xfrm>
            <a:off x="388153" y="1455814"/>
            <a:ext cx="4585903" cy="447308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i="1" dirty="0">
                <a:solidFill>
                  <a:schemeClr val="bg1"/>
                </a:solidFill>
              </a:rPr>
              <a:t>Please Note: This </a:t>
            </a:r>
            <a:r>
              <a:rPr lang="pl-PL" i="1" dirty="0">
                <a:solidFill>
                  <a:schemeClr val="bg1"/>
                </a:solidFill>
              </a:rPr>
              <a:t>product</a:t>
            </a:r>
            <a:r>
              <a:rPr lang="en-US" i="1" dirty="0">
                <a:solidFill>
                  <a:schemeClr val="bg1"/>
                </a:solidFill>
              </a:rPr>
              <a:t> is designed for easy disassembly</a:t>
            </a:r>
            <a:r>
              <a:rPr lang="pl-PL" i="1" dirty="0">
                <a:solidFill>
                  <a:schemeClr val="bg1"/>
                </a:solidFill>
              </a:rPr>
              <a:t>!</a:t>
            </a: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i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sz="1867" dirty="0">
              <a:solidFill>
                <a:srgbClr val="FFFFFF"/>
              </a:solidFill>
              <a:latin typeface="Arial" panose="020B0604020202020204"/>
              <a:ea typeface="Post Grotesk Book" panose="02000000000000000000" pitchFamily="2" charset="0"/>
            </a:endParaRPr>
          </a:p>
          <a:p>
            <a:pPr marL="342900" indent="-342900" defTabSz="1038977">
              <a:buFont typeface="+mj-lt"/>
              <a:buAutoNum type="arabicPeriod" startAt="3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 dirty="0">
                <a:solidFill>
                  <a:schemeClr val="bg1"/>
                </a:solidFill>
              </a:rPr>
              <a:t>RECYCLING - disassemble the chair into its separate materials</a:t>
            </a:r>
            <a:r>
              <a:rPr lang="pl-PL" b="1" u="sng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pl-PL" sz="1600" i="1" dirty="0">
                <a:solidFill>
                  <a:schemeClr val="bg1"/>
                </a:solidFill>
              </a:rPr>
              <a:t>Recycling is the </a:t>
            </a:r>
            <a:r>
              <a:rPr lang="pl-PL" sz="1600" i="1" dirty="0" err="1">
                <a:solidFill>
                  <a:schemeClr val="bg1"/>
                </a:solidFill>
              </a:rPr>
              <a:t>best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option</a:t>
            </a:r>
            <a:r>
              <a:rPr lang="pl-PL" sz="1600" i="1" dirty="0">
                <a:solidFill>
                  <a:schemeClr val="bg1"/>
                </a:solidFill>
              </a:rPr>
              <a:t> for this product, the </a:t>
            </a:r>
            <a:r>
              <a:rPr lang="pl-PL" sz="1600" i="1" dirty="0" err="1">
                <a:solidFill>
                  <a:schemeClr val="bg1"/>
                </a:solidFill>
              </a:rPr>
              <a:t>ability</a:t>
            </a:r>
            <a:r>
              <a:rPr lang="pl-PL" sz="1600" i="1" dirty="0">
                <a:solidFill>
                  <a:schemeClr val="bg1"/>
                </a:solidFill>
              </a:rPr>
              <a:t> to </a:t>
            </a:r>
            <a:r>
              <a:rPr lang="pl-PL" sz="1600" i="1" dirty="0" err="1">
                <a:solidFill>
                  <a:schemeClr val="bg1"/>
                </a:solidFill>
              </a:rPr>
              <a:t>separate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different</a:t>
            </a:r>
            <a:r>
              <a:rPr lang="pl-PL" sz="1600" i="1">
                <a:solidFill>
                  <a:schemeClr val="bg1"/>
                </a:solidFill>
              </a:rPr>
              <a:t> materials </a:t>
            </a:r>
            <a:r>
              <a:rPr lang="pl-PL" sz="1600" i="1" dirty="0" err="1">
                <a:solidFill>
                  <a:schemeClr val="bg1"/>
                </a:solidFill>
              </a:rPr>
              <a:t>makes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segregation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pl-PL" sz="1600" i="1" dirty="0" err="1">
                <a:solidFill>
                  <a:schemeClr val="bg1"/>
                </a:solidFill>
              </a:rPr>
              <a:t>easy</a:t>
            </a:r>
            <a:r>
              <a:rPr lang="pl-PL" sz="1600" i="1" dirty="0">
                <a:solidFill>
                  <a:schemeClr val="bg1"/>
                </a:solidFill>
              </a:rPr>
              <a:t> here.</a:t>
            </a:r>
            <a:endParaRPr lang="pl-PL" b="1" dirty="0">
              <a:solidFill>
                <a:schemeClr val="bg1"/>
              </a:solidFill>
            </a:endParaRPr>
          </a:p>
          <a:p>
            <a:pPr defTabSz="1038977">
              <a:tabLst>
                <a:tab pos="3352632" algn="l"/>
                <a:tab pos="3583338" algn="l"/>
                <a:tab pos="3824627" algn="l"/>
              </a:tabLst>
              <a:defRPr/>
            </a:pPr>
            <a:endParaRPr lang="pl-PL" b="1" dirty="0">
              <a:solidFill>
                <a:schemeClr val="bg1"/>
              </a:solidFill>
            </a:endParaRPr>
          </a:p>
          <a:p>
            <a:pPr marL="342900" indent="-342900" defTabSz="1038977">
              <a:buFont typeface="+mj-lt"/>
              <a:buAutoNum type="arabicPeriod" startAt="4"/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b="1" u="sng" dirty="0">
                <a:solidFill>
                  <a:schemeClr val="bg1"/>
                </a:solidFill>
              </a:rPr>
              <a:t>Return to / contact your local waste management service</a:t>
            </a:r>
            <a:r>
              <a:rPr lang="pl-PL" b="1" u="sng" dirty="0">
                <a:solidFill>
                  <a:schemeClr val="bg1"/>
                </a:solidFill>
              </a:rPr>
              <a:t>.</a:t>
            </a:r>
          </a:p>
          <a:p>
            <a:pPr marL="360000" defTabSz="1038977">
              <a:spcBef>
                <a:spcPts val="600"/>
              </a:spcBef>
              <a:tabLst>
                <a:tab pos="3352632" algn="l"/>
                <a:tab pos="3583338" algn="l"/>
                <a:tab pos="3824627" algn="l"/>
              </a:tabLst>
              <a:defRPr/>
            </a:pPr>
            <a:r>
              <a:rPr lang="en-US" sz="1600" i="1" dirty="0">
                <a:solidFill>
                  <a:schemeClr val="bg1"/>
                </a:solidFill>
              </a:rPr>
              <a:t>In case of </a:t>
            </a:r>
            <a:r>
              <a:rPr lang="pl-PL" sz="1600" i="1" dirty="0">
                <a:solidFill>
                  <a:schemeClr val="bg1"/>
                </a:solidFill>
              </a:rPr>
              <a:t>product</a:t>
            </a:r>
            <a:r>
              <a:rPr lang="en-US" sz="1600" i="1" dirty="0">
                <a:solidFill>
                  <a:schemeClr val="bg1"/>
                </a:solidFill>
              </a:rPr>
              <a:t> damage or inability to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disassemble, please contact your local</a:t>
            </a:r>
            <a:r>
              <a:rPr lang="pl-PL" sz="1600" i="1" dirty="0">
                <a:solidFill>
                  <a:schemeClr val="bg1"/>
                </a:solidFill>
              </a:rPr>
              <a:t> w</a:t>
            </a:r>
            <a:r>
              <a:rPr lang="en-US" sz="1600" i="1" dirty="0" err="1">
                <a:solidFill>
                  <a:schemeClr val="bg1"/>
                </a:solidFill>
              </a:rPr>
              <a:t>aste</a:t>
            </a:r>
            <a:r>
              <a:rPr lang="en-US" sz="1600" i="1" dirty="0">
                <a:solidFill>
                  <a:schemeClr val="bg1"/>
                </a:solidFill>
              </a:rPr>
              <a:t> management service for proper material</a:t>
            </a:r>
            <a:r>
              <a:rPr lang="pl-PL" sz="1600" i="1" dirty="0">
                <a:solidFill>
                  <a:schemeClr val="bg1"/>
                </a:solidFill>
              </a:rPr>
              <a:t> </a:t>
            </a:r>
            <a:r>
              <a:rPr lang="en-US" sz="1600" i="1" dirty="0">
                <a:solidFill>
                  <a:schemeClr val="bg1"/>
                </a:solidFill>
              </a:rPr>
              <a:t>disposal</a:t>
            </a:r>
            <a:r>
              <a:rPr lang="pl-PL" sz="1600" i="1" dirty="0">
                <a:solidFill>
                  <a:schemeClr val="bg1"/>
                </a:solidFill>
              </a:rPr>
              <a:t>.</a:t>
            </a:r>
            <a:endParaRPr lang="pl-PL" sz="1600" b="1" u="sng" dirty="0">
              <a:solidFill>
                <a:schemeClr val="bg1"/>
              </a:solidFill>
            </a:endParaRP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39401598-C2C7-4A69-5156-584743D13C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1120" y="1"/>
            <a:ext cx="7040879" cy="6028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206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2.xml><?xml version="1.0" encoding="utf-8"?>
<a:theme xmlns:a="http://schemas.openxmlformats.org/drawingml/2006/main" name="Flokk">
  <a:themeElements>
    <a:clrScheme name="Flokk">
      <a:dk1>
        <a:srgbClr val="222222"/>
      </a:dk1>
      <a:lt1>
        <a:srgbClr val="FFFFFF"/>
      </a:lt1>
      <a:dk2>
        <a:srgbClr val="164E41"/>
      </a:dk2>
      <a:lt2>
        <a:srgbClr val="E0DCD9"/>
      </a:lt2>
      <a:accent1>
        <a:srgbClr val="9CB4AF"/>
      </a:accent1>
      <a:accent2>
        <a:srgbClr val="D5C2B5"/>
      </a:accent2>
      <a:accent3>
        <a:srgbClr val="E6E4E1"/>
      </a:accent3>
      <a:accent4>
        <a:srgbClr val="9CB4AF"/>
      </a:accent4>
      <a:accent5>
        <a:srgbClr val="D5C2B5"/>
      </a:accent5>
      <a:accent6>
        <a:srgbClr val="E6E3E1"/>
      </a:accent6>
      <a:hlink>
        <a:srgbClr val="0C433B"/>
      </a:hlink>
      <a:folHlink>
        <a:srgbClr val="237F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wrap="square" rtlCol="0">
        <a:spAutoFit/>
      </a:bodyPr>
      <a:lstStyle>
        <a:defPPr>
          <a:defRPr baseline="0" dirty="0" smtClean="0">
            <a:solidFill>
              <a:srgbClr val="174E42"/>
            </a:solidFill>
            <a:latin typeface="Franklin Gothic Book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lokk_template_16_9" id="{E70258E5-CE58-1C4A-A725-95D2C7AB9F83}" vid="{7EEFF6F5-01A7-E146-A1AA-ADE6274CE38A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Pakiet 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ec24231-af33-4393-8b25-009bc2e7ca9e" xsi:nil="true"/>
    <lcf76f155ced4ddcb4097134ff3c332f xmlns="292b8c96-74c9-4f3e-9693-f229e7f0d5d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3E2D064B85354E8B61AF8BACE93875" ma:contentTypeVersion="11" ma:contentTypeDescription="Create a new document." ma:contentTypeScope="" ma:versionID="8f13976fabbd7f12c4537e06d6de36ef">
  <xsd:schema xmlns:xsd="http://www.w3.org/2001/XMLSchema" xmlns:xs="http://www.w3.org/2001/XMLSchema" xmlns:p="http://schemas.microsoft.com/office/2006/metadata/properties" xmlns:ns2="292b8c96-74c9-4f3e-9693-f229e7f0d5d0" xmlns:ns3="9ec24231-af33-4393-8b25-009bc2e7ca9e" targetNamespace="http://schemas.microsoft.com/office/2006/metadata/properties" ma:root="true" ma:fieldsID="11f81f9b5114867b6dd7e1ba947a712b" ns2:_="" ns3:_="">
    <xsd:import namespace="292b8c96-74c9-4f3e-9693-f229e7f0d5d0"/>
    <xsd:import namespace="9ec24231-af33-4393-8b25-009bc2e7ca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b8c96-74c9-4f3e-9693-f229e7f0d5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79a2a56f-892c-47f2-b04f-7c4cdc3e1dd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c24231-af33-4393-8b25-009bc2e7ca9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92b15786-3bfa-4160-a789-5119474edc38}" ma:internalName="TaxCatchAll" ma:showField="CatchAllData" ma:web="9ec24231-af33-4393-8b25-009bc2e7ca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553BA29-C00A-4F9F-BEF2-6A9AFCCD65A4}">
  <ds:schemaRefs>
    <ds:schemaRef ds:uri="http://schemas.microsoft.com/office/2006/metadata/properties"/>
    <ds:schemaRef ds:uri="http://schemas.microsoft.com/office/infopath/2007/PartnerControls"/>
    <ds:schemaRef ds:uri="9ec24231-af33-4393-8b25-009bc2e7ca9e"/>
    <ds:schemaRef ds:uri="292b8c96-74c9-4f3e-9693-f229e7f0d5d0"/>
  </ds:schemaRefs>
</ds:datastoreItem>
</file>

<file path=customXml/itemProps2.xml><?xml version="1.0" encoding="utf-8"?>
<ds:datastoreItem xmlns:ds="http://schemas.openxmlformats.org/officeDocument/2006/customXml" ds:itemID="{555EA0BC-149E-4680-92EA-042AE1D259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A3218E-4EAA-4A70-A470-489AFD8D5C39}"/>
</file>

<file path=docProps/app.xml><?xml version="1.0" encoding="utf-8"?>
<Properties xmlns="http://schemas.openxmlformats.org/officeDocument/2006/extended-properties" xmlns:vt="http://schemas.openxmlformats.org/officeDocument/2006/docPropsVTypes">
  <TotalTime>247</TotalTime>
  <Words>130</Words>
  <Application>Microsoft Office PowerPoint</Application>
  <PresentationFormat>Panoramiczny</PresentationFormat>
  <Paragraphs>22</Paragraphs>
  <Slides>2</Slides>
  <Notes>2</Notes>
  <HiddenSlides>0</HiddenSlides>
  <MMClips>0</MMClips>
  <ScaleCrop>false</ScaleCrop>
  <HeadingPairs>
    <vt:vector size="8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</vt:i4>
      </vt:variant>
    </vt:vector>
  </HeadingPairs>
  <TitlesOfParts>
    <vt:vector size="11" baseType="lpstr">
      <vt:lpstr>Aptos</vt:lpstr>
      <vt:lpstr>Arial</vt:lpstr>
      <vt:lpstr>Arial Regular</vt:lpstr>
      <vt:lpstr>Franklin Gothic Book</vt:lpstr>
      <vt:lpstr>Post Grotesk</vt:lpstr>
      <vt:lpstr>Wingdings</vt:lpstr>
      <vt:lpstr>18_Flokk</vt:lpstr>
      <vt:lpstr>Flokk</vt:lpstr>
      <vt:lpstr>think-cell Slide</vt:lpstr>
      <vt:lpstr>How to dispose of product  - Profim Revo</vt:lpstr>
      <vt:lpstr>How to dispose of product  - Profim Rev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dispose of chair  - Profim Normo</dc:title>
  <dc:creator>Damian Bąkowski</dc:creator>
  <cp:lastModifiedBy>Damian Bąkowski</cp:lastModifiedBy>
  <cp:revision>4</cp:revision>
  <dcterms:created xsi:type="dcterms:W3CDTF">2024-03-06T10:07:21Z</dcterms:created>
  <dcterms:modified xsi:type="dcterms:W3CDTF">2024-04-25T10:49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3E2D064B85354E8B61AF8BACE93875</vt:lpwstr>
  </property>
  <property fmtid="{D5CDD505-2E9C-101B-9397-08002B2CF9AE}" pid="3" name="MediaServiceImageTags">
    <vt:lpwstr/>
  </property>
</Properties>
</file>